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4042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7B7B7"/>
    <a:srgbClr val="5A5A5A"/>
    <a:srgbClr val="444444"/>
    <a:srgbClr val="F6F6F6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4042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4650D895-EB6A-4BA2-9016-2EF84A377C20}"/>
    <pc:docChg chg="undo redo custSel modSld">
      <pc:chgData name="Weigel Stefan (PAR-EPS)" userId="fd3b2067-2981-4ad8-bf3a-d2e1004e4fa8" providerId="ADAL" clId="{4650D895-EB6A-4BA2-9016-2EF84A377C20}" dt="2024-02-28T11:56:21.059" v="74" actId="27918"/>
      <pc:docMkLst>
        <pc:docMk/>
      </pc:docMkLst>
      <pc:sldChg chg="modSp mod">
        <pc:chgData name="Weigel Stefan (PAR-EPS)" userId="fd3b2067-2981-4ad8-bf3a-d2e1004e4fa8" providerId="ADAL" clId="{4650D895-EB6A-4BA2-9016-2EF84A377C20}" dt="2024-02-28T11:56:21.059" v="74" actId="27918"/>
        <pc:sldMkLst>
          <pc:docMk/>
          <pc:sldMk cId="3158517815" sldId="412"/>
        </pc:sldMkLst>
        <pc:spChg chg="mod">
          <ac:chgData name="Weigel Stefan (PAR-EPS)" userId="fd3b2067-2981-4ad8-bf3a-d2e1004e4fa8" providerId="ADAL" clId="{4650D895-EB6A-4BA2-9016-2EF84A377C20}" dt="2024-02-28T11:42:37.711" v="7" actId="20577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650D895-EB6A-4BA2-9016-2EF84A377C20}" dt="2024-02-28T11:50:11.844" v="70" actId="1038"/>
          <ac:spMkLst>
            <pc:docMk/>
            <pc:sldMk cId="3158517815" sldId="412"/>
            <ac:spMk id="6" creationId="{858CAFD8-585A-425D-B84C-7C6D2EEC02EE}"/>
          </ac:spMkLst>
        </pc:spChg>
        <pc:spChg chg="mod">
          <ac:chgData name="Weigel Stefan (PAR-EPS)" userId="fd3b2067-2981-4ad8-bf3a-d2e1004e4fa8" providerId="ADAL" clId="{4650D895-EB6A-4BA2-9016-2EF84A377C20}" dt="2024-02-28T11:49:54.619" v="65" actId="121"/>
          <ac:spMkLst>
            <pc:docMk/>
            <pc:sldMk cId="3158517815" sldId="412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EEEB8C2A-CF97-4BC4-BECD-DA82A1D92792}"/>
    <pc:docChg chg="custSel modSld">
      <pc:chgData name="Meyer Raphael (PAR-ES)" userId="79615dfe-ed48-4e74-a40f-4f7b034c1c27" providerId="ADAL" clId="{EEEB8C2A-CF97-4BC4-BECD-DA82A1D92792}" dt="2022-03-09T11:55:45.105" v="33" actId="27918"/>
      <pc:docMkLst>
        <pc:docMk/>
      </pc:docMkLst>
      <pc:sldChg chg="modSp mod">
        <pc:chgData name="Meyer Raphael (PAR-ES)" userId="79615dfe-ed48-4e74-a40f-4f7b034c1c27" providerId="ADAL" clId="{EEEB8C2A-CF97-4BC4-BECD-DA82A1D92792}" dt="2022-03-09T11:51:44.226" v="1"/>
        <pc:sldMkLst>
          <pc:docMk/>
          <pc:sldMk cId="1355476115" sldId="413"/>
        </pc:sldMkLst>
        <pc:spChg chg="mod">
          <ac:chgData name="Meyer Raphael (PAR-ES)" userId="79615dfe-ed48-4e74-a40f-4f7b034c1c27" providerId="ADAL" clId="{EEEB8C2A-CF97-4BC4-BECD-DA82A1D92792}" dt="2022-03-09T11:51:14.551" v="0"/>
          <ac:spMkLst>
            <pc:docMk/>
            <pc:sldMk cId="1355476115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1:44.226" v="1"/>
          <ac:spMkLst>
            <pc:docMk/>
            <pc:sldMk cId="1355476115" sldId="413"/>
            <ac:spMk id="6" creationId="{858CAFD8-585A-425D-B84C-7C6D2EEC02E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4:00.172" v="20" actId="27918"/>
        <pc:sldMkLst>
          <pc:docMk/>
          <pc:sldMk cId="1680633567" sldId="414"/>
        </pc:sldMkLst>
        <pc:spChg chg="mod">
          <ac:chgData name="Meyer Raphael (PAR-ES)" userId="79615dfe-ed48-4e74-a40f-4f7b034c1c27" providerId="ADAL" clId="{EEEB8C2A-CF97-4BC4-BECD-DA82A1D92792}" dt="2022-03-09T11:52:44.964" v="2"/>
          <ac:spMkLst>
            <pc:docMk/>
            <pc:sldMk cId="1680633567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3:07.952" v="14"/>
          <ac:spMkLst>
            <pc:docMk/>
            <pc:sldMk cId="1680633567" sldId="414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2:56.887" v="13" actId="20577"/>
          <ac:spMkLst>
            <pc:docMk/>
            <pc:sldMk cId="1680633567" sldId="414"/>
            <ac:spMk id="7" creationId="{A268B3EA-5C95-4C29-811B-3808A456157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5:45.105" v="33" actId="27918"/>
        <pc:sldMkLst>
          <pc:docMk/>
          <pc:sldMk cId="3776150389" sldId="415"/>
        </pc:sldMkLst>
        <pc:spChg chg="mod">
          <ac:chgData name="Meyer Raphael (PAR-ES)" userId="79615dfe-ed48-4e74-a40f-4f7b034c1c27" providerId="ADAL" clId="{EEEB8C2A-CF97-4BC4-BECD-DA82A1D92792}" dt="2022-03-09T11:54:37.618" v="21"/>
          <ac:spMkLst>
            <pc:docMk/>
            <pc:sldMk cId="377615038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5:03.945" v="22"/>
          <ac:spMkLst>
            <pc:docMk/>
            <pc:sldMk cId="3776150389" sldId="415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5:10.741" v="28" actId="20577"/>
          <ac:spMkLst>
            <pc:docMk/>
            <pc:sldMk cId="3776150389" sldId="415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C4D7F9F5-998F-4867-9A40-101C59F8BE2E}"/>
    <pc:docChg chg="addSld delSld">
      <pc:chgData name="Meyer Raphael (PAR-ES)" userId="79615dfe-ed48-4e74-a40f-4f7b034c1c27" providerId="ADAL" clId="{C4D7F9F5-998F-4867-9A40-101C59F8BE2E}" dt="2022-03-09T10:44:13.499" v="4" actId="2890"/>
      <pc:docMkLst>
        <pc:docMk/>
      </pc:docMkLst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2144688994" sldId="410"/>
        </pc:sldMkLst>
      </pc:sldChg>
      <pc:sldChg chg="del">
        <pc:chgData name="Meyer Raphael (PAR-ES)" userId="79615dfe-ed48-4e74-a40f-4f7b034c1c27" providerId="ADAL" clId="{C4D7F9F5-998F-4867-9A40-101C59F8BE2E}" dt="2022-03-09T10:44:03.773" v="1" actId="47"/>
        <pc:sldMkLst>
          <pc:docMk/>
          <pc:sldMk cId="34638060" sldId="411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3456073895" sldId="412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1058032750" sldId="413"/>
        </pc:sldMkLst>
      </pc:sldChg>
      <pc:sldChg chg="add">
        <pc:chgData name="Meyer Raphael (PAR-ES)" userId="79615dfe-ed48-4e74-a40f-4f7b034c1c27" providerId="ADAL" clId="{C4D7F9F5-998F-4867-9A40-101C59F8BE2E}" dt="2022-03-09T10:44:11.020" v="2" actId="2890"/>
        <pc:sldMkLst>
          <pc:docMk/>
          <pc:sldMk cId="1355476115" sldId="413"/>
        </pc:sldMkLst>
      </pc:sldChg>
      <pc:sldChg chg="add">
        <pc:chgData name="Meyer Raphael (PAR-ES)" userId="79615dfe-ed48-4e74-a40f-4f7b034c1c27" providerId="ADAL" clId="{C4D7F9F5-998F-4867-9A40-101C59F8BE2E}" dt="2022-03-09T10:44:12.800" v="3" actId="2890"/>
        <pc:sldMkLst>
          <pc:docMk/>
          <pc:sldMk cId="1680633567" sldId="414"/>
        </pc:sldMkLst>
      </pc:sldChg>
      <pc:sldChg chg="add">
        <pc:chgData name="Meyer Raphael (PAR-ES)" userId="79615dfe-ed48-4e74-a40f-4f7b034c1c27" providerId="ADAL" clId="{C4D7F9F5-998F-4867-9A40-101C59F8BE2E}" dt="2022-03-09T10:44:13.499" v="4" actId="2890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3A031BE0-00CF-4BA8-B07E-8242826746C8}"/>
    <pc:docChg chg="modSld">
      <pc:chgData name="Meyer Raphael (PAR-ES)" userId="79615dfe-ed48-4e74-a40f-4f7b034c1c27" providerId="ADAL" clId="{3A031BE0-00CF-4BA8-B07E-8242826746C8}" dt="2023-02-24T13:39:39.062" v="3" actId="27918"/>
      <pc:docMkLst>
        <pc:docMk/>
      </pc:docMkLst>
      <pc:sldChg chg="mod">
        <pc:chgData name="Meyer Raphael (PAR-ES)" userId="79615dfe-ed48-4e74-a40f-4f7b034c1c27" providerId="ADAL" clId="{3A031BE0-00CF-4BA8-B07E-8242826746C8}" dt="2023-02-24T13:39:39.062" v="3" actId="27918"/>
        <pc:sldMkLst>
          <pc:docMk/>
          <pc:sldMk cId="3158517815" sldId="412"/>
        </pc:sldMkLst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C07F2B2-B7A2-48D8-A4DC-3DCC0139B60C}"/>
    <pc:docChg chg="delSld modSld">
      <pc:chgData name="Meyer Raphael (PAR-ES)" userId="79615dfe-ed48-4e74-a40f-4f7b034c1c27" providerId="ADAL" clId="{6C07F2B2-B7A2-48D8-A4DC-3DCC0139B60C}" dt="2022-03-09T15:32:28.816" v="1" actId="692"/>
      <pc:docMkLst>
        <pc:docMk/>
      </pc:docMkLst>
      <pc:sldChg chg="modSp">
        <pc:chgData name="Meyer Raphael (PAR-ES)" userId="79615dfe-ed48-4e74-a40f-4f7b034c1c27" providerId="ADAL" clId="{6C07F2B2-B7A2-48D8-A4DC-3DCC0139B60C}" dt="2022-03-09T15:32:28.816" v="1" actId="692"/>
        <pc:sldMkLst>
          <pc:docMk/>
          <pc:sldMk cId="3158517815" sldId="412"/>
        </pc:sldMkLst>
        <pc:graphicFrameChg chg="mod">
          <ac:chgData name="Meyer Raphael (PAR-ES)" userId="79615dfe-ed48-4e74-a40f-4f7b034c1c27" providerId="ADAL" clId="{6C07F2B2-B7A2-48D8-A4DC-3DCC0139B60C}" dt="2022-03-09T15:32:28.816" v="1" actId="692"/>
          <ac:graphicFrameMkLst>
            <pc:docMk/>
            <pc:sldMk cId="3158517815" sldId="412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355476115" sldId="413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680633567" sldId="414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07162534333307"/>
          <c:y val="8.3190352559608188E-2"/>
          <c:w val="0.80911837859633473"/>
          <c:h val="0.68853057381604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Gotthard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.00</c:formatCode>
                <c:ptCount val="11"/>
                <c:pt idx="0">
                  <c:v>17.914608999999999</c:v>
                </c:pt>
                <c:pt idx="1">
                  <c:v>18.405615000000001</c:v>
                </c:pt>
                <c:pt idx="2">
                  <c:v>17.842801000000001</c:v>
                </c:pt>
                <c:pt idx="3">
                  <c:v>16.624806</c:v>
                </c:pt>
                <c:pt idx="4">
                  <c:v>14.843216999999999</c:v>
                </c:pt>
                <c:pt idx="5">
                  <c:v>16.882899999999999</c:v>
                </c:pt>
                <c:pt idx="6">
                  <c:v>17.179015</c:v>
                </c:pt>
                <c:pt idx="7">
                  <c:v>17.63063</c:v>
                </c:pt>
                <c:pt idx="8">
                  <c:v>20.640112999999999</c:v>
                </c:pt>
                <c:pt idx="9">
                  <c:v>22.394874000000002</c:v>
                </c:pt>
                <c:pt idx="10">
                  <c:v>20.828085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4D-4F6E-B799-3A1AE4992BC1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implon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.00</c:formatCode>
                <c:ptCount val="11"/>
                <c:pt idx="0">
                  <c:v>13.342789</c:v>
                </c:pt>
                <c:pt idx="1">
                  <c:v>13.915381999999999</c:v>
                </c:pt>
                <c:pt idx="2">
                  <c:v>15.303774000000001</c:v>
                </c:pt>
                <c:pt idx="3">
                  <c:v>16.884143000000002</c:v>
                </c:pt>
                <c:pt idx="4">
                  <c:v>17.496600999999998</c:v>
                </c:pt>
                <c:pt idx="5">
                  <c:v>16.113721000000002</c:v>
                </c:pt>
                <c:pt idx="6">
                  <c:v>14.807741999999999</c:v>
                </c:pt>
                <c:pt idx="7">
                  <c:v>12.384786999999999</c:v>
                </c:pt>
                <c:pt idx="8">
                  <c:v>13.208899000000001</c:v>
                </c:pt>
                <c:pt idx="9">
                  <c:v>10.993043999999999</c:v>
                </c:pt>
                <c:pt idx="10">
                  <c:v>10.898840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4D-4F6E-B799-3A1AE4992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389184"/>
        <c:axId val="137390720"/>
      </c:barChart>
      <c:catAx>
        <c:axId val="13738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37390720"/>
        <c:crosses val="autoZero"/>
        <c:auto val="1"/>
        <c:lblAlgn val="ctr"/>
        <c:lblOffset val="100"/>
        <c:noMultiLvlLbl val="0"/>
      </c:catAx>
      <c:valAx>
        <c:axId val="137390720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7389184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0.1175293194367367"/>
          <c:y val="0.85197308809121952"/>
          <c:w val="0.23468576754775944"/>
          <c:h val="5.472318412195201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054</cdr:x>
      <cdr:y>0</cdr:y>
    </cdr:from>
    <cdr:to>
      <cdr:x>0.10435</cdr:x>
      <cdr:y>0.0527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54368" y="0"/>
          <a:ext cx="473454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>
              <a:latin typeface="+mj-lt"/>
              <a:cs typeface="Arial" pitchFamily="34" charset="0"/>
            </a:rPr>
            <a:t>Mio. </a:t>
          </a:r>
          <a:r>
            <a:rPr lang="de-CH" sz="1000" dirty="0" err="1">
              <a:latin typeface="+mj-lt"/>
              <a:cs typeface="Arial" pitchFamily="34" charset="0"/>
            </a:rPr>
            <a:t>Nt</a:t>
          </a:r>
          <a:endParaRPr lang="de-CH" sz="1000" dirty="0">
            <a:latin typeface="+mj-lt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lpenquerender Güterverkehr auf der Schien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743293229"/>
              </p:ext>
            </p:extLst>
          </p:nvPr>
        </p:nvGraphicFramePr>
        <p:xfrm>
          <a:off x="833120" y="1881188"/>
          <a:ext cx="10808018" cy="42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58CAFD8-585A-425D-B84C-7C6D2EEC02EE}"/>
              </a:ext>
            </a:extLst>
          </p:cNvPr>
          <p:cNvSpPr txBox="1"/>
          <p:nvPr/>
        </p:nvSpPr>
        <p:spPr>
          <a:xfrm>
            <a:off x="1519238" y="6109492"/>
            <a:ext cx="8029575" cy="1538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Verkehrsaufkommen in Nettotonnen aller Eisenbahnverkehrsunternehmen auf der Infrastruktur SBB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268B3EA-5C95-4C29-811B-3808A4561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9492"/>
            <a:ext cx="1727767" cy="170649"/>
          </a:xfr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r"/>
            <a:r>
              <a:rPr lang="de-CH" sz="1000" kern="0" spc="0" dirty="0">
                <a:solidFill>
                  <a:srgbClr val="444444"/>
                </a:solidFill>
                <a:latin typeface="SBB Light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15851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E6D7F5C-99C0-4597-9A67-AE7241B58D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http://purl.org/dc/terms/"/>
    <ds:schemaRef ds:uri="http://schemas.microsoft.com/office/2006/documentManagement/types"/>
    <ds:schemaRef ds:uri="96e82a89-ba48-4728-b345-cf206dbec8f1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8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Alpenquerender Güterverkehr auf der Schien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penquerender Güterverkehr auf der Schiene.</dc:title>
  <dc:creator>Meyer Raphael (KOM-PGA-VSF)</dc:creator>
  <cp:lastModifiedBy>Stefan Weigel (PAR-EPS)</cp:lastModifiedBy>
  <cp:revision>60</cp:revision>
  <dcterms:created xsi:type="dcterms:W3CDTF">2020-09-30T11:00:09Z</dcterms:created>
  <dcterms:modified xsi:type="dcterms:W3CDTF">2024-02-28T12:0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